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5"/>
  </p:notesMasterIdLst>
  <p:handoutMasterIdLst>
    <p:handoutMasterId r:id="rId66"/>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2" r:id="rId51"/>
    <p:sldId id="423" r:id="rId52"/>
    <p:sldId id="428" r:id="rId53"/>
    <p:sldId id="442" r:id="rId54"/>
    <p:sldId id="430" r:id="rId55"/>
    <p:sldId id="431" r:id="rId56"/>
    <p:sldId id="432" r:id="rId57"/>
    <p:sldId id="433" r:id="rId58"/>
    <p:sldId id="434" r:id="rId59"/>
    <p:sldId id="435" r:id="rId60"/>
    <p:sldId id="436" r:id="rId61"/>
    <p:sldId id="437" r:id="rId62"/>
    <p:sldId id="438" r:id="rId63"/>
    <p:sldId id="439" r:id="rId6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52" d="100"/>
          <a:sy n="52" d="100"/>
        </p:scale>
        <p:origin x="1112" y="40"/>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2/2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2/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2/27/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2/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2/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2/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2/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2/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2/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2/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2/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27/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6"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2"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0"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7/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2/27/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2/2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8.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756.xml"/><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hyperlink" Target="mailto:mmishal@directionstraining.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https://tinyurl.com/charlotte0130"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7002751"/>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3: </a:t>
            </a:r>
            <a:r>
              <a:rPr lang="fr-FR" dirty="0" err="1"/>
              <a:t>Implementing</a:t>
            </a:r>
            <a:r>
              <a:rPr lang="fr-FR" dirty="0"/>
              <a:t> Microsoft Azure Infrastructure Solutions</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Your Exam Voucher!</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3724096"/>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dstolts@microsoft.com</a:t>
            </a:r>
            <a:endParaRPr lang="en-US" dirty="0"/>
          </a:p>
          <a:p>
            <a:r>
              <a:rPr lang="en-US" dirty="0">
                <a:hlinkClick r:id="rId4"/>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360751" y="4361365"/>
            <a:ext cx="6273418" cy="1794661"/>
          </a:xfrm>
        </p:spPr>
        <p:txBody>
          <a:bodyPr/>
          <a:lstStyle/>
          <a:p>
            <a:pPr lvl="0"/>
            <a:r>
              <a:rPr lang="en-US" dirty="0"/>
              <a:t>URL: </a:t>
            </a:r>
            <a:r>
              <a:rPr lang="en-US" b="1" u="sng" dirty="0">
                <a:hlinkClick r:id="rId3"/>
              </a:rPr>
              <a:t>https://tinyurl.com/charlotte0130</a:t>
            </a:r>
            <a:endParaRPr lang="en-US" dirty="0"/>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54</TotalTime>
  <Words>949</Words>
  <Application>Microsoft Office PowerPoint</Application>
  <PresentationFormat>Widescreen</PresentationFormat>
  <Paragraphs>197</Paragraphs>
  <Slides>30</Slides>
  <Notes>29</Notes>
  <HiddenSlides>0</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0</vt:i4>
      </vt:variant>
    </vt:vector>
  </HeadingPairs>
  <TitlesOfParts>
    <vt:vector size="80" baseType="lpstr">
      <vt:lpstr>MS PGothic</vt:lpstr>
      <vt:lpstr>MS PGothic</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Save Money on Your Exams</vt:lpstr>
      <vt:lpstr>Leave Comments About Exam Questions</vt:lpstr>
      <vt:lpstr>Additional Resources</vt:lpstr>
      <vt:lpstr>Your Exam Voucher!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8</cp:revision>
  <dcterms:created xsi:type="dcterms:W3CDTF">2015-09-15T13:10:44Z</dcterms:created>
  <dcterms:modified xsi:type="dcterms:W3CDTF">2018-02-27T20: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